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D$2:$D$226</c:f>
              <c:numCache>
                <c:formatCode>#,##0</c:formatCode>
                <c:ptCount val="225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3</c:v>
                </c:pt>
                <c:pt idx="175">
                  <c:v>697</c:v>
                </c:pt>
                <c:pt idx="176">
                  <c:v>684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1</c:v>
                </c:pt>
                <c:pt idx="182">
                  <c:v>798</c:v>
                </c:pt>
                <c:pt idx="183">
                  <c:v>804</c:v>
                </c:pt>
                <c:pt idx="184">
                  <c:v>825</c:v>
                </c:pt>
                <c:pt idx="185">
                  <c:v>840</c:v>
                </c:pt>
                <c:pt idx="186">
                  <c:v>850</c:v>
                </c:pt>
                <c:pt idx="187">
                  <c:v>869</c:v>
                </c:pt>
                <c:pt idx="188">
                  <c:v>916</c:v>
                </c:pt>
                <c:pt idx="189">
                  <c:v>906</c:v>
                </c:pt>
                <c:pt idx="190">
                  <c:v>915</c:v>
                </c:pt>
                <c:pt idx="191">
                  <c:v>916</c:v>
                </c:pt>
                <c:pt idx="192">
                  <c:v>928</c:v>
                </c:pt>
                <c:pt idx="193">
                  <c:v>911</c:v>
                </c:pt>
                <c:pt idx="194">
                  <c:v>936</c:v>
                </c:pt>
                <c:pt idx="195">
                  <c:v>941</c:v>
                </c:pt>
                <c:pt idx="196">
                  <c:v>926</c:v>
                </c:pt>
                <c:pt idx="197">
                  <c:v>925</c:v>
                </c:pt>
                <c:pt idx="198">
                  <c:v>952</c:v>
                </c:pt>
                <c:pt idx="199">
                  <c:v>943</c:v>
                </c:pt>
                <c:pt idx="200">
                  <c:v>939</c:v>
                </c:pt>
                <c:pt idx="201">
                  <c:v>934</c:v>
                </c:pt>
                <c:pt idx="202">
                  <c:v>972</c:v>
                </c:pt>
                <c:pt idx="203">
                  <c:v>931</c:v>
                </c:pt>
                <c:pt idx="204">
                  <c:v>922</c:v>
                </c:pt>
                <c:pt idx="207">
                  <c:v>878</c:v>
                </c:pt>
                <c:pt idx="208">
                  <c:v>863</c:v>
                </c:pt>
                <c:pt idx="209">
                  <c:v>867</c:v>
                </c:pt>
                <c:pt idx="210">
                  <c:v>841</c:v>
                </c:pt>
                <c:pt idx="211">
                  <c:v>813</c:v>
                </c:pt>
                <c:pt idx="212">
                  <c:v>792</c:v>
                </c:pt>
                <c:pt idx="213">
                  <c:v>764</c:v>
                </c:pt>
                <c:pt idx="214">
                  <c:v>727</c:v>
                </c:pt>
                <c:pt idx="215">
                  <c:v>716</c:v>
                </c:pt>
                <c:pt idx="216">
                  <c:v>713</c:v>
                </c:pt>
                <c:pt idx="217">
                  <c:v>735</c:v>
                </c:pt>
                <c:pt idx="218">
                  <c:v>709</c:v>
                </c:pt>
                <c:pt idx="219">
                  <c:v>673</c:v>
                </c:pt>
                <c:pt idx="220">
                  <c:v>633</c:v>
                </c:pt>
                <c:pt idx="221">
                  <c:v>606</c:v>
                </c:pt>
                <c:pt idx="222">
                  <c:v>602</c:v>
                </c:pt>
                <c:pt idx="223">
                  <c:v>592</c:v>
                </c:pt>
                <c:pt idx="224">
                  <c:v>5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B$2:$B$226</c:f>
              <c:numCache>
                <c:formatCode>#,##0</c:formatCode>
                <c:ptCount val="225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C$2:$C$226</c:f>
              <c:numCache>
                <c:formatCode>#,##0</c:formatCode>
                <c:ptCount val="22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D$2:$D$226</c:f>
              <c:numCache>
                <c:formatCode>#,##0</c:formatCode>
                <c:ptCount val="225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3</c:v>
                </c:pt>
                <c:pt idx="67">
                  <c:v>3348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5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4</c:v>
                </c:pt>
                <c:pt idx="109">
                  <c:v>1645</c:v>
                </c:pt>
                <c:pt idx="110">
                  <c:v>1681</c:v>
                </c:pt>
                <c:pt idx="111">
                  <c:v>1681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9</c:v>
                </c:pt>
                <c:pt idx="158">
                  <c:v>2347</c:v>
                </c:pt>
                <c:pt idx="159">
                  <c:v>2410</c:v>
                </c:pt>
                <c:pt idx="160">
                  <c:v>2472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7</c:v>
                </c:pt>
                <c:pt idx="165">
                  <c:v>2471</c:v>
                </c:pt>
                <c:pt idx="166">
                  <c:v>2589</c:v>
                </c:pt>
                <c:pt idx="167">
                  <c:v>2621</c:v>
                </c:pt>
                <c:pt idx="168">
                  <c:v>2653</c:v>
                </c:pt>
                <c:pt idx="169">
                  <c:v>2718</c:v>
                </c:pt>
                <c:pt idx="170">
                  <c:v>2758</c:v>
                </c:pt>
                <c:pt idx="171">
                  <c:v>2678</c:v>
                </c:pt>
                <c:pt idx="172">
                  <c:v>2684</c:v>
                </c:pt>
                <c:pt idx="173">
                  <c:v>2805</c:v>
                </c:pt>
                <c:pt idx="174">
                  <c:v>2999</c:v>
                </c:pt>
                <c:pt idx="175">
                  <c:v>3018</c:v>
                </c:pt>
                <c:pt idx="176">
                  <c:v>3031</c:v>
                </c:pt>
                <c:pt idx="177">
                  <c:v>3044</c:v>
                </c:pt>
                <c:pt idx="178">
                  <c:v>3131</c:v>
                </c:pt>
                <c:pt idx="179">
                  <c:v>3237</c:v>
                </c:pt>
                <c:pt idx="180">
                  <c:v>3378</c:v>
                </c:pt>
                <c:pt idx="181">
                  <c:v>3580</c:v>
                </c:pt>
                <c:pt idx="182">
                  <c:v>3624</c:v>
                </c:pt>
                <c:pt idx="183">
                  <c:v>3598</c:v>
                </c:pt>
                <c:pt idx="184">
                  <c:v>3679</c:v>
                </c:pt>
                <c:pt idx="185">
                  <c:v>3706</c:v>
                </c:pt>
                <c:pt idx="186">
                  <c:v>3788</c:v>
                </c:pt>
                <c:pt idx="187">
                  <c:v>3877</c:v>
                </c:pt>
                <c:pt idx="188">
                  <c:v>3927</c:v>
                </c:pt>
                <c:pt idx="189">
                  <c:v>3944</c:v>
                </c:pt>
                <c:pt idx="190">
                  <c:v>3956</c:v>
                </c:pt>
                <c:pt idx="191">
                  <c:v>3928</c:v>
                </c:pt>
                <c:pt idx="192">
                  <c:v>3862</c:v>
                </c:pt>
                <c:pt idx="193">
                  <c:v>3974</c:v>
                </c:pt>
                <c:pt idx="194">
                  <c:v>4042</c:v>
                </c:pt>
                <c:pt idx="195">
                  <c:v>4188</c:v>
                </c:pt>
                <c:pt idx="196">
                  <c:v>4102</c:v>
                </c:pt>
                <c:pt idx="197">
                  <c:v>4025</c:v>
                </c:pt>
                <c:pt idx="198">
                  <c:v>3997</c:v>
                </c:pt>
                <c:pt idx="199">
                  <c:v>3795</c:v>
                </c:pt>
                <c:pt idx="200">
                  <c:v>3724</c:v>
                </c:pt>
                <c:pt idx="201">
                  <c:v>3801</c:v>
                </c:pt>
                <c:pt idx="202">
                  <c:v>3821</c:v>
                </c:pt>
                <c:pt idx="203">
                  <c:v>3690</c:v>
                </c:pt>
                <c:pt idx="204">
                  <c:v>3546</c:v>
                </c:pt>
                <c:pt idx="207">
                  <c:v>3358</c:v>
                </c:pt>
                <c:pt idx="208">
                  <c:v>3389</c:v>
                </c:pt>
                <c:pt idx="209">
                  <c:v>3358</c:v>
                </c:pt>
                <c:pt idx="210">
                  <c:v>3277</c:v>
                </c:pt>
                <c:pt idx="211">
                  <c:v>3147</c:v>
                </c:pt>
                <c:pt idx="212">
                  <c:v>2997</c:v>
                </c:pt>
                <c:pt idx="213">
                  <c:v>2809</c:v>
                </c:pt>
                <c:pt idx="214">
                  <c:v>2762</c:v>
                </c:pt>
                <c:pt idx="215">
                  <c:v>2824</c:v>
                </c:pt>
                <c:pt idx="216">
                  <c:v>2839</c:v>
                </c:pt>
                <c:pt idx="217">
                  <c:v>3043</c:v>
                </c:pt>
                <c:pt idx="218">
                  <c:v>2865</c:v>
                </c:pt>
                <c:pt idx="219">
                  <c:v>2688</c:v>
                </c:pt>
                <c:pt idx="220">
                  <c:v>2416</c:v>
                </c:pt>
                <c:pt idx="221">
                  <c:v>2329</c:v>
                </c:pt>
                <c:pt idx="222">
                  <c:v>2346</c:v>
                </c:pt>
                <c:pt idx="223">
                  <c:v>2337</c:v>
                </c:pt>
                <c:pt idx="224">
                  <c:v>2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4"/>
              <c:layout>
                <c:manualLayout>
                  <c:x val="-8.4504880832907154E-8"/>
                  <c:y val="-4.93962833628225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B$2:$B$226</c:f>
              <c:numCache>
                <c:formatCode>#,##0</c:formatCode>
                <c:ptCount val="225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C$2:$C$226</c:f>
              <c:numCache>
                <c:formatCode>#,##0</c:formatCode>
                <c:ptCount val="22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D$2:$D$226</c:f>
              <c:numCache>
                <c:formatCode>#,##0</c:formatCode>
                <c:ptCount val="225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7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2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7</c:v>
                </c:pt>
                <c:pt idx="166">
                  <c:v>1148</c:v>
                </c:pt>
                <c:pt idx="167">
                  <c:v>1172</c:v>
                </c:pt>
                <c:pt idx="168">
                  <c:v>1215</c:v>
                </c:pt>
                <c:pt idx="169">
                  <c:v>1243</c:v>
                </c:pt>
                <c:pt idx="170">
                  <c:v>1268</c:v>
                </c:pt>
                <c:pt idx="171">
                  <c:v>1271</c:v>
                </c:pt>
                <c:pt idx="172">
                  <c:v>1270</c:v>
                </c:pt>
                <c:pt idx="173">
                  <c:v>1283</c:v>
                </c:pt>
                <c:pt idx="174">
                  <c:v>1365</c:v>
                </c:pt>
                <c:pt idx="175">
                  <c:v>1394</c:v>
                </c:pt>
                <c:pt idx="176">
                  <c:v>1412</c:v>
                </c:pt>
                <c:pt idx="177">
                  <c:v>1465</c:v>
                </c:pt>
                <c:pt idx="178">
                  <c:v>1440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7</c:v>
                </c:pt>
                <c:pt idx="183">
                  <c:v>1623</c:v>
                </c:pt>
                <c:pt idx="184">
                  <c:v>1649</c:v>
                </c:pt>
                <c:pt idx="185">
                  <c:v>1669</c:v>
                </c:pt>
                <c:pt idx="186">
                  <c:v>1672</c:v>
                </c:pt>
                <c:pt idx="187">
                  <c:v>1676</c:v>
                </c:pt>
                <c:pt idx="188">
                  <c:v>1770</c:v>
                </c:pt>
                <c:pt idx="189">
                  <c:v>1800</c:v>
                </c:pt>
                <c:pt idx="190">
                  <c:v>1831</c:v>
                </c:pt>
                <c:pt idx="191">
                  <c:v>1820</c:v>
                </c:pt>
                <c:pt idx="192">
                  <c:v>1833</c:v>
                </c:pt>
                <c:pt idx="193">
                  <c:v>1781</c:v>
                </c:pt>
                <c:pt idx="194">
                  <c:v>1827</c:v>
                </c:pt>
                <c:pt idx="195">
                  <c:v>1885</c:v>
                </c:pt>
                <c:pt idx="196">
                  <c:v>1892</c:v>
                </c:pt>
                <c:pt idx="197">
                  <c:v>1860</c:v>
                </c:pt>
                <c:pt idx="198">
                  <c:v>1861</c:v>
                </c:pt>
                <c:pt idx="199">
                  <c:v>1820</c:v>
                </c:pt>
                <c:pt idx="200">
                  <c:v>1782</c:v>
                </c:pt>
                <c:pt idx="201">
                  <c:v>1806</c:v>
                </c:pt>
                <c:pt idx="202">
                  <c:v>1824</c:v>
                </c:pt>
                <c:pt idx="203">
                  <c:v>1779</c:v>
                </c:pt>
                <c:pt idx="204">
                  <c:v>1746</c:v>
                </c:pt>
                <c:pt idx="207">
                  <c:v>1652</c:v>
                </c:pt>
                <c:pt idx="208">
                  <c:v>1660</c:v>
                </c:pt>
                <c:pt idx="209">
                  <c:v>1668</c:v>
                </c:pt>
                <c:pt idx="210">
                  <c:v>1619</c:v>
                </c:pt>
                <c:pt idx="211">
                  <c:v>1561</c:v>
                </c:pt>
                <c:pt idx="212">
                  <c:v>1516</c:v>
                </c:pt>
                <c:pt idx="213">
                  <c:v>1432</c:v>
                </c:pt>
                <c:pt idx="214">
                  <c:v>1406</c:v>
                </c:pt>
                <c:pt idx="215">
                  <c:v>1386</c:v>
                </c:pt>
                <c:pt idx="216">
                  <c:v>1357</c:v>
                </c:pt>
                <c:pt idx="217">
                  <c:v>1408</c:v>
                </c:pt>
                <c:pt idx="218">
                  <c:v>1383</c:v>
                </c:pt>
                <c:pt idx="219">
                  <c:v>1330</c:v>
                </c:pt>
                <c:pt idx="220">
                  <c:v>1249</c:v>
                </c:pt>
                <c:pt idx="221">
                  <c:v>1232</c:v>
                </c:pt>
                <c:pt idx="222">
                  <c:v>1213</c:v>
                </c:pt>
                <c:pt idx="223">
                  <c:v>1195</c:v>
                </c:pt>
                <c:pt idx="224">
                  <c:v>1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9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2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B$2:$B$226</c:f>
              <c:numCache>
                <c:formatCode>#,##0</c:formatCode>
                <c:ptCount val="225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C$2:$C$226</c:f>
              <c:numCache>
                <c:formatCode>#,##0</c:formatCode>
                <c:ptCount val="22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D$2:$D$226</c:f>
              <c:numCache>
                <c:formatCode>#,##0</c:formatCode>
                <c:ptCount val="2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6</c:v>
                </c:pt>
                <c:pt idx="213">
                  <c:v>30</c:v>
                </c:pt>
                <c:pt idx="214">
                  <c:v>30</c:v>
                </c:pt>
                <c:pt idx="215">
                  <c:v>32</c:v>
                </c:pt>
                <c:pt idx="216">
                  <c:v>30</c:v>
                </c:pt>
                <c:pt idx="217">
                  <c:v>27</c:v>
                </c:pt>
                <c:pt idx="218">
                  <c:v>24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B$2:$B$226</c:f>
              <c:numCache>
                <c:formatCode>#,##0</c:formatCode>
                <c:ptCount val="225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6</c:f>
              <c:numCache>
                <c:formatCode>m/d/yyyy</c:formatCode>
                <c:ptCount val="22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C$2:$C$226</c:f>
              <c:numCache>
                <c:formatCode>#,##0</c:formatCode>
                <c:ptCount val="22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14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9340215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97453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4928793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89332933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262543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9790742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84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593</cp:revision>
  <dcterms:created xsi:type="dcterms:W3CDTF">2020-08-08T14:25:07Z</dcterms:created>
  <dcterms:modified xsi:type="dcterms:W3CDTF">2021-04-14T03:18:07Z</dcterms:modified>
</cp:coreProperties>
</file>